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5" r:id="rId5"/>
    <p:sldMasterId id="2147483698" r:id="rId6"/>
  </p:sldMasterIdLst>
  <p:notesMasterIdLst>
    <p:notesMasterId r:id="rId36"/>
  </p:notesMasterIdLst>
  <p:handoutMasterIdLst>
    <p:handoutMasterId r:id="rId37"/>
  </p:handoutMasterIdLst>
  <p:sldIdLst>
    <p:sldId id="650" r:id="rId7"/>
    <p:sldId id="616" r:id="rId8"/>
    <p:sldId id="599" r:id="rId9"/>
    <p:sldId id="640" r:id="rId10"/>
    <p:sldId id="637" r:id="rId11"/>
    <p:sldId id="639" r:id="rId12"/>
    <p:sldId id="618" r:id="rId13"/>
    <p:sldId id="638" r:id="rId14"/>
    <p:sldId id="641" r:id="rId15"/>
    <p:sldId id="642" r:id="rId16"/>
    <p:sldId id="644" r:id="rId17"/>
    <p:sldId id="648" r:id="rId18"/>
    <p:sldId id="649" r:id="rId19"/>
    <p:sldId id="643" r:id="rId20"/>
    <p:sldId id="652" r:id="rId21"/>
    <p:sldId id="654" r:id="rId22"/>
    <p:sldId id="651" r:id="rId23"/>
    <p:sldId id="656" r:id="rId24"/>
    <p:sldId id="658" r:id="rId25"/>
    <p:sldId id="655" r:id="rId26"/>
    <p:sldId id="659" r:id="rId27"/>
    <p:sldId id="662" r:id="rId28"/>
    <p:sldId id="664" r:id="rId29"/>
    <p:sldId id="665" r:id="rId30"/>
    <p:sldId id="661" r:id="rId31"/>
    <p:sldId id="646" r:id="rId32"/>
    <p:sldId id="647" r:id="rId33"/>
    <p:sldId id="635" r:id="rId34"/>
    <p:sldId id="636" r:id="rId35"/>
  </p:sldIdLst>
  <p:sldSz cx="9144000" cy="6858000" type="screen4x3"/>
  <p:notesSz cx="7099300" cy="10234613"/>
  <p:custDataLst>
    <p:tags r:id="rId38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6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7BAB"/>
    <a:srgbClr val="C00000"/>
    <a:srgbClr val="E20074"/>
    <a:srgbClr val="9F4C97"/>
    <a:srgbClr val="368F9A"/>
    <a:srgbClr val="64B9E4"/>
    <a:srgbClr val="EDA95A"/>
    <a:srgbClr val="6BB324"/>
    <a:srgbClr val="FECB00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002" autoAdjust="0"/>
  </p:normalViewPr>
  <p:slideViewPr>
    <p:cSldViewPr snapToGrid="0" snapToObjects="1">
      <p:cViewPr varScale="1">
        <p:scale>
          <a:sx n="113" d="100"/>
          <a:sy n="113" d="100"/>
        </p:scale>
        <p:origin x="1452" y="9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3999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-4806" y="-9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08EAA6DD-3AB6-46FF-A66C-09447AC026B9}" type="datetimeFigureOut">
              <a:rPr lang="de-DE" altLang="de-DE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fld id="{328156C5-7A14-45F5-A401-8D0EA7D5591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454661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454662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4663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9225310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Mastertext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EEDD0792-31F5-4C05-BBB4-5A2059D305C5}" type="datetimeFigureOut">
              <a:rPr lang="de-DE" altLang="de-DE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9EC1EB-F7FC-47FA-ABF2-0A658A6F8FA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30407" name="Gruppieren 37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230408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409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208454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269875" indent="-1270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438150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617538" indent="-1778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785813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image" Target="../media/image4.emf"/><Relationship Id="rId4" Type="http://schemas.openxmlformats.org/officeDocument/2006/relationships/tags" Target="../tags/tag10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75" name="think-cell Folie" r:id="rId7" imgW="286" imgH="286" progId="TCLayout.ActiveDocument.1">
                  <p:embed/>
                </p:oleObj>
              </mc:Choice>
              <mc:Fallback>
                <p:oleObj name="think-cell Folie" r:id="rId7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auto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auto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7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4"/>
          <a:stretch>
            <a:fillRect/>
          </a:stretch>
        </p:blipFill>
        <p:spPr bwMode="auto">
          <a:xfrm>
            <a:off x="323850" y="6137275"/>
            <a:ext cx="990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23850" y="1773238"/>
            <a:ext cx="8496300" cy="1470025"/>
          </a:xfrm>
        </p:spPr>
        <p:txBody>
          <a:bodyPr/>
          <a:lstStyle>
            <a:lvl1pPr>
              <a:lnSpc>
                <a:spcPts val="6000"/>
              </a:lnSpc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676650"/>
            <a:ext cx="8496300" cy="304800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454427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6804025" y="6431563"/>
            <a:ext cx="1800225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6431563"/>
            <a:ext cx="4102100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C64F5B-F5A9-4D04-BD91-E334FD51BFDA}" type="slidenum">
              <a:rPr lang="de-DE" altLang="de-DE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3841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A2A13-A2D3-41FE-A284-DBE756D6D5A3}" type="datetime1">
              <a:rPr lang="de-DE"/>
              <a:pPr>
                <a:defRPr/>
              </a:pPr>
              <a:t>12.07.2016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F91CC-1B30-4F48-A88A-C160781CF0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996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C69CE-B7D0-4ED2-B8FB-A300A90AF1F2}" type="datetime1">
              <a:rPr lang="de-DE"/>
              <a:pPr>
                <a:defRPr/>
              </a:pPr>
              <a:t>12.07.201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F0507-DB7C-4A6D-A4C3-FD123E63EF7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697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FB0AD-BA01-407D-B184-2FF69CBF7A03}" type="datetime1">
              <a:rPr lang="de-DE"/>
              <a:pPr>
                <a:defRPr/>
              </a:pPr>
              <a:t>12.07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21C1A1-3C33-4E6D-A0ED-9BD5AD3BFAA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70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F7366F-4375-4D51-9EB5-E4C997C9A0B7}" type="datetime1">
              <a:rPr lang="de-DE"/>
              <a:pPr>
                <a:defRPr/>
              </a:pPr>
              <a:t>12.07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6B73A3-0376-434C-9189-F6BD484BC1A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33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99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alt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31097757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3647CE-A11D-4BD5-8DD4-1705B598AA53}" type="datetime1">
              <a:rPr lang="de-DE" altLang="de-DE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9BA24B-737B-4EC6-A3AF-31B45056788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64048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0E4C4-6476-476A-BFB9-D64B2E912803}" type="datetime1">
              <a:rPr lang="de-DE" altLang="de-DE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5CEC97-5361-4BA6-91F6-51766D467B0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03411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EB67F-A42A-45C0-B836-B3F882B2A2E1}" type="datetime1">
              <a:rPr lang="de-DE" altLang="de-DE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60883E-7016-47CB-A58B-6960D5812ED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877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8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9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88" y="6346825"/>
            <a:ext cx="31369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Folie" r:id="rId15" imgW="286" imgH="286" progId="TCLayout.ActiveDocument.1">
                  <p:embed/>
                </p:oleObj>
              </mc:Choice>
              <mc:Fallback>
                <p:oleObj name="think-cell Foli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23850" y="333375"/>
            <a:ext cx="84963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2385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18.03.2014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3559175" y="6427788"/>
            <a:ext cx="3100388" cy="138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 algn="ctr">
              <a:defRPr/>
            </a:pPr>
            <a:r>
              <a:rPr lang="de-DE" dirty="0" smtClean="0"/>
              <a:t>- Confidential -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AB36E577-A52C-49BA-9E42-C0EA2500F39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87" r:id="rId2"/>
    <p:sldLayoutId id="2147483788" r:id="rId3"/>
    <p:sldLayoutId id="2147483789" r:id="rId4"/>
    <p:sldLayoutId id="2147483790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2pPr>
      <a:lvl3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3pPr>
      <a:lvl4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4pPr>
      <a:lvl5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5pPr>
      <a:lvl6pPr marL="4572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marL="342900" indent="-34290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indent="4556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333375"/>
            <a:ext cx="84963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  <a:endParaRPr lang="de-DE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E2E5300D-ACF0-4EE3-9620-0107EA183A5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2056" name="Picture 53" descr="T_Logo_3c_Slogan_p_DE_EMF CD EXPORT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1" r:id="rId2"/>
    <p:sldLayoutId id="2147483792" r:id="rId3"/>
    <p:sldLayoutId id="2147483793" r:id="rId4"/>
    <p:sldLayoutId id="2147483794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2.png"/><Relationship Id="rId3" Type="http://schemas.openxmlformats.org/officeDocument/2006/relationships/tags" Target="../tags/tag51.xml"/><Relationship Id="rId7" Type="http://schemas.openxmlformats.org/officeDocument/2006/relationships/image" Target="../media/image18.png"/><Relationship Id="rId12" Type="http://schemas.openxmlformats.org/officeDocument/2006/relationships/image" Target="../media/image41.jpeg"/><Relationship Id="rId2" Type="http://schemas.openxmlformats.org/officeDocument/2006/relationships/tags" Target="../tags/tag50.xml"/><Relationship Id="rId16" Type="http://schemas.openxmlformats.org/officeDocument/2006/relationships/image" Target="../media/image20.jpg"/><Relationship Id="rId1" Type="http://schemas.openxmlformats.org/officeDocument/2006/relationships/tags" Target="../tags/tag49.xml"/><Relationship Id="rId6" Type="http://schemas.openxmlformats.org/officeDocument/2006/relationships/image" Target="../media/image37.png"/><Relationship Id="rId11" Type="http://schemas.openxmlformats.org/officeDocument/2006/relationships/image" Target="../media/image40.png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6.jpeg"/><Relationship Id="rId10" Type="http://schemas.openxmlformats.org/officeDocument/2006/relationships/image" Target="../media/image39.png"/><Relationship Id="rId4" Type="http://schemas.openxmlformats.org/officeDocument/2006/relationships/tags" Target="../tags/tag52.xml"/><Relationship Id="rId9" Type="http://schemas.openxmlformats.org/officeDocument/2006/relationships/image" Target="../media/image38.png"/><Relationship Id="rId1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8.xml"/><Relationship Id="rId7" Type="http://schemas.openxmlformats.org/officeDocument/2006/relationships/image" Target="../media/image19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Bad actor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4500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/>
              <a:t>Primarily result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018737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/>
              <a:t>To better understand the nature of the Twitter authors retrieved from  VICO’s feed, we manually investigated them </a:t>
            </a:r>
            <a:r>
              <a:rPr lang="en-US" sz="2400" strike="sngStrike" dirty="0">
                <a:solidFill>
                  <a:srgbClr val="FF0000"/>
                </a:solidFill>
              </a:rPr>
              <a:t>via </a:t>
            </a:r>
            <a:r>
              <a:rPr lang="en-US" sz="2400" strike="sngStrike" dirty="0" smtClean="0">
                <a:solidFill>
                  <a:srgbClr val="FF0000"/>
                </a:solidFill>
              </a:rPr>
              <a:t>cluster </a:t>
            </a:r>
            <a:r>
              <a:rPr lang="en-US" sz="2400" strike="sngStrike" dirty="0" smtClean="0">
                <a:solidFill>
                  <a:srgbClr val="FF0000"/>
                </a:solidFill>
              </a:rPr>
              <a:t>analysis</a:t>
            </a:r>
            <a:r>
              <a:rPr lang="en-US" sz="2400" dirty="0"/>
              <a:t>. </a:t>
            </a:r>
            <a:r>
              <a:rPr lang="en-US" sz="2400" dirty="0">
                <a:solidFill>
                  <a:srgbClr val="FF0000"/>
                </a:solidFill>
              </a:rPr>
              <a:t>How about: we used </a:t>
            </a:r>
            <a:r>
              <a:rPr lang="en-US" sz="2400" dirty="0" err="1">
                <a:solidFill>
                  <a:srgbClr val="FF0000"/>
                </a:solidFill>
              </a:rPr>
              <a:t>unseupervised</a:t>
            </a:r>
            <a:r>
              <a:rPr lang="en-US" sz="2400" dirty="0">
                <a:solidFill>
                  <a:srgbClr val="FF0000"/>
                </a:solidFill>
              </a:rPr>
              <a:t> learning algorithm to divide the authors into </a:t>
            </a:r>
            <a:r>
              <a:rPr lang="en-US" sz="2400" dirty="0" err="1">
                <a:solidFill>
                  <a:srgbClr val="FF0000"/>
                </a:solidFill>
              </a:rPr>
              <a:t>clustrers</a:t>
            </a:r>
            <a:r>
              <a:rPr lang="en-US" sz="2400" dirty="0">
                <a:solidFill>
                  <a:srgbClr val="FF0000"/>
                </a:solidFill>
              </a:rPr>
              <a:t>?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By this analysis we were able to divide users into different cluste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Users in the same cluster share mutual features</a:t>
            </a:r>
            <a:r>
              <a:rPr lang="en-US" sz="2400" dirty="0" smtClean="0"/>
              <a:t>.</a:t>
            </a:r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82" y="2705351"/>
            <a:ext cx="8372968" cy="295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4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 analysi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172061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used the Expectation-Maximization (EM) algorithm, and a set of features for representing each Twitter author to find groups of Twitter users who share similar appearances or behaviors</a:t>
            </a:r>
            <a:r>
              <a:rPr lang="en-US" sz="2400" dirty="0" smtClean="0"/>
              <a:t>. </a:t>
            </a:r>
            <a:r>
              <a:rPr lang="en-US" sz="2400" dirty="0" smtClean="0">
                <a:solidFill>
                  <a:srgbClr val="FF0000"/>
                </a:solidFill>
              </a:rPr>
              <a:t>The sentence is not clear</a:t>
            </a:r>
            <a:endParaRPr lang="en-US" sz="2400" dirty="0" smtClean="0">
              <a:solidFill>
                <a:srgbClr val="FF0000"/>
              </a:solidFill>
            </a:endParaRP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ntually, we were able to find 4 clusters: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357223"/>
              </p:ext>
            </p:extLst>
          </p:nvPr>
        </p:nvGraphicFramePr>
        <p:xfrm>
          <a:off x="1531620" y="2724405"/>
          <a:ext cx="5272405" cy="2682240"/>
        </p:xfrm>
        <a:graphic>
          <a:graphicData uri="http://schemas.openxmlformats.org/drawingml/2006/table">
            <a:tbl>
              <a:tblPr rtl="1" firstRow="1" bandRow="1">
                <a:tableStyleId>{073A0DAA-6AF3-43AB-8588-CEC1D06C72B9}</a:tableStyleId>
              </a:tblPr>
              <a:tblGrid>
                <a:gridCol w="1219200"/>
                <a:gridCol w="1167493"/>
                <a:gridCol w="840921"/>
                <a:gridCol w="1257300"/>
                <a:gridCol w="787491"/>
              </a:tblGrid>
              <a:tr h="33909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%</a:t>
                      </a:r>
                      <a:r>
                        <a:rPr lang="en-US" sz="2000" baseline="0" dirty="0" smtClean="0"/>
                        <a:t> Bad acto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#Bad acto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Total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s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No.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.95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93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886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0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70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1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8.127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2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00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Cluster2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3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1.172%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597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Cluster3</a:t>
                      </a:r>
                      <a:endParaRPr lang="he-IL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</a:t>
                      </a:r>
                      <a:endParaRPr lang="he-IL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rtl="1"/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444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9,255</a:t>
                      </a:r>
                      <a:endParaRPr lang="he-I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e-IL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2000" dirty="0" smtClean="0"/>
                        <a:t>Sum</a:t>
                      </a:r>
                      <a:endParaRPr lang="he-IL" sz="2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70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0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is varied so it is hard to tell exactly which users exist in this cluster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veral users advertise commercials </a:t>
            </a:r>
            <a:r>
              <a:rPr lang="en-US" sz="2400" strike="sngStrike" dirty="0" smtClean="0">
                <a:solidFill>
                  <a:srgbClr val="FF0000"/>
                </a:solidFill>
              </a:rPr>
              <a:t>for doing Twitter actions like</a:t>
            </a:r>
            <a:r>
              <a:rPr lang="en-US" sz="2400" dirty="0" smtClean="0">
                <a:solidFill>
                  <a:srgbClr val="FF0000"/>
                </a:solidFill>
              </a:rPr>
              <a:t> </a:t>
            </a:r>
            <a:r>
              <a:rPr lang="en-US" sz="2400" dirty="0" smtClean="0">
                <a:solidFill>
                  <a:srgbClr val="FF0000"/>
                </a:solidFill>
              </a:rPr>
              <a:t> by </a:t>
            </a:r>
            <a:r>
              <a:rPr lang="en-US" sz="2400" dirty="0" smtClean="0"/>
              <a:t>RT</a:t>
            </a:r>
            <a:r>
              <a:rPr lang="en-US" sz="2400" dirty="0" smtClean="0"/>
              <a:t>, </a:t>
            </a:r>
            <a:r>
              <a:rPr lang="en-US" sz="2400" strike="sngStrike" dirty="0" smtClean="0">
                <a:solidFill>
                  <a:srgbClr val="FF0000"/>
                </a:solidFill>
              </a:rPr>
              <a:t>and follow for </a:t>
            </a:r>
            <a:r>
              <a:rPr lang="en-US" sz="2400" strike="sngStrike" dirty="0" err="1" smtClean="0">
                <a:solidFill>
                  <a:srgbClr val="FF0000"/>
                </a:solidFill>
              </a:rPr>
              <a:t>money.</a:t>
            </a:r>
            <a:r>
              <a:rPr lang="en-US" sz="2400" dirty="0" err="1" smtClean="0"/>
              <a:t>These</a:t>
            </a:r>
            <a:r>
              <a:rPr lang="en-US" sz="2400" dirty="0" smtClean="0"/>
              <a:t> </a:t>
            </a:r>
            <a:r>
              <a:rPr lang="en-US" sz="2400" dirty="0" smtClean="0"/>
              <a:t>users are probably </a:t>
            </a:r>
            <a:r>
              <a:rPr lang="en-US" sz="2400" dirty="0" err="1" smtClean="0"/>
              <a:t>crowdturfers</a:t>
            </a:r>
            <a:r>
              <a:rPr lang="en-US" sz="2400" dirty="0" smtClean="0"/>
              <a:t>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8648" y="2572896"/>
            <a:ext cx="5307899" cy="332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25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0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2" y="1456357"/>
            <a:ext cx="5307899" cy="33217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57" y="1108611"/>
            <a:ext cx="4623935" cy="5246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80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0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age in days : 1370.58 ~ 3+ years old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 length : 14.0331 words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s per day : 25.0849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aved the default profile : 43.39% (Most of them changed their profile from default.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riends – followers ratio : 2.7026 (More friends than followers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riends : 969.29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ollowers : 744.113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posts: 21,837.65  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73653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includes many users which are suspected by us to be </a:t>
            </a:r>
            <a:r>
              <a:rPr lang="en-US" sz="2400" dirty="0" smtClean="0"/>
              <a:t>new</a:t>
            </a:r>
            <a:r>
              <a:rPr lang="en-US" sz="2400" dirty="0" smtClean="0">
                <a:solidFill>
                  <a:srgbClr val="FF0000"/>
                </a:solidFill>
              </a:rPr>
              <a:t> is it? We found that most of them are quite heavy users</a:t>
            </a:r>
            <a:r>
              <a:rPr lang="en-US" sz="2400" dirty="0" smtClean="0"/>
              <a:t>.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y have great number of followers, and friend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y publish great number of post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includes many regular users who gained great effect within Twitter as well as companies, and news feed. 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98" y="3337711"/>
            <a:ext cx="4005547" cy="23727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7647" y="3828048"/>
            <a:ext cx="4499751" cy="222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46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veral found to be regular use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any of them were found in other OSNs.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1" y="2196193"/>
            <a:ext cx="6622181" cy="34371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21" y="230518"/>
            <a:ext cx="3568586" cy="1728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43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1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age in days : 1377.78 ~ 3+ years old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 length : 14.46 words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s per day : 250.45 (very active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aved the default profile : 0.39%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riends – followers ratio : 0.6596 (equal number between followers, and following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riends : 4,233.58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ollowers : 21,749.65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posts: 135,379.1473  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91215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includes many users which are suspected </a:t>
            </a:r>
            <a:r>
              <a:rPr lang="en-US" sz="2400" dirty="0" smtClean="0">
                <a:solidFill>
                  <a:srgbClr val="FF0000"/>
                </a:solidFill>
              </a:rPr>
              <a:t>to </a:t>
            </a:r>
            <a:r>
              <a:rPr lang="en-US" sz="2400" dirty="0" smtClean="0"/>
              <a:t>be </a:t>
            </a:r>
            <a:r>
              <a:rPr lang="en-US" sz="2400" dirty="0" smtClean="0"/>
              <a:t>newly profiles of </a:t>
            </a:r>
            <a:r>
              <a:rPr lang="en-US" sz="2400" dirty="0" err="1" smtClean="0"/>
              <a:t>socialbots</a:t>
            </a:r>
            <a:r>
              <a:rPr lang="en-US" sz="2400" dirty="0" smtClean="0"/>
              <a:t>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ost of them </a:t>
            </a:r>
            <a:r>
              <a:rPr lang="en-US" sz="2400" strike="sngStrike" dirty="0" smtClean="0">
                <a:solidFill>
                  <a:srgbClr val="FF0000"/>
                </a:solidFill>
              </a:rPr>
              <a:t>are</a:t>
            </a:r>
            <a:r>
              <a:rPr lang="en-US" sz="2400" dirty="0" smtClean="0">
                <a:solidFill>
                  <a:srgbClr val="FF0000"/>
                </a:solidFill>
              </a:rPr>
              <a:t> do </a:t>
            </a:r>
            <a:r>
              <a:rPr lang="en-US" sz="2400" dirty="0" smtClean="0"/>
              <a:t>not include too much information regarding themselves, simple default users</a:t>
            </a:r>
            <a:r>
              <a:rPr lang="en-US" sz="2400" dirty="0"/>
              <a:t>, </a:t>
            </a:r>
            <a:r>
              <a:rPr lang="en-US" sz="2400" dirty="0" smtClean="0"/>
              <a:t>unrecognizable profile image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Many of them have small number of posts, as </a:t>
            </a:r>
            <a:r>
              <a:rPr lang="en-US" sz="2400" dirty="0" smtClean="0"/>
              <a:t>well </a:t>
            </a:r>
            <a:r>
              <a:rPr lang="en-US" sz="2400" dirty="0" smtClean="0">
                <a:solidFill>
                  <a:srgbClr val="FF0000"/>
                </a:solidFill>
              </a:rPr>
              <a:t>as</a:t>
            </a:r>
            <a:r>
              <a:rPr lang="en-US" sz="2400" dirty="0" smtClean="0"/>
              <a:t> </a:t>
            </a:r>
            <a:r>
              <a:rPr lang="en-US" sz="2400" dirty="0" smtClean="0"/>
              <a:t>followe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espite the small number of posts published by them, their most prominent activity is retweeting others’ posts. Probably as part of advertising campaigns. 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971" y="3627863"/>
            <a:ext cx="4936054" cy="262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3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9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7920" y="641681"/>
            <a:ext cx="4621643" cy="21053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0726" y="3970413"/>
            <a:ext cx="4003902" cy="20051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361" y="2941982"/>
            <a:ext cx="3887560" cy="257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altLang="de-DE" dirty="0" smtClean="0"/>
              <a:t>P</a:t>
            </a:r>
            <a:r>
              <a:rPr lang="en-US" altLang="de-DE" dirty="0" err="1" smtClean="0"/>
              <a:t>ilot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25281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2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age in days : 18.54 days (Extremely young 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 length : 10.77 words (Shorten than other clusters which has 14 words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s per day : 5.26 (Extremely inactive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aved the default profile : 0.98% (Not changed from default profile)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riends – followers ratio : 59.33 (The users are more follow other users than other users follow them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riends : 192.1462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ollowers : 4.442 (Extremely low number of followers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posts: 148.7835 (</a:t>
            </a:r>
            <a:r>
              <a:rPr lang="en-US" sz="2400" dirty="0" err="1" smtClean="0"/>
              <a:t>Extremly</a:t>
            </a:r>
            <a:r>
              <a:rPr lang="en-US" sz="2400" dirty="0" smtClean="0"/>
              <a:t> low – other clusters more than ten of thousands)  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707972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1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is cluster focuses on the great number of posts published by the use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are found to be regular users who published posts all the day long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463" y="1812471"/>
            <a:ext cx="5704259" cy="22519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64" y="4143893"/>
            <a:ext cx="4474029" cy="218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0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to be merchandize promoter, which were created by merchandizers for promoting their goods.</a:t>
            </a:r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06" y="1959428"/>
            <a:ext cx="4275227" cy="36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</a:t>
            </a:r>
            <a:r>
              <a:rPr lang="en-US" sz="2400" dirty="0" smtClean="0"/>
              <a:t>to </a:t>
            </a:r>
            <a:r>
              <a:rPr lang="en-US" sz="2400" dirty="0" smtClean="0">
                <a:solidFill>
                  <a:srgbClr val="FF0000"/>
                </a:solidFill>
              </a:rPr>
              <a:t>be</a:t>
            </a:r>
            <a:r>
              <a:rPr lang="en-US" sz="2400" dirty="0" smtClean="0"/>
              <a:t> </a:t>
            </a:r>
            <a:r>
              <a:rPr lang="en-US" sz="2400" dirty="0" err="1" smtClean="0"/>
              <a:t>crowdturfers</a:t>
            </a:r>
            <a:r>
              <a:rPr lang="en-US" sz="2400" dirty="0" smtClean="0"/>
              <a:t>,  who published many posts for boosting others. </a:t>
            </a:r>
            <a:r>
              <a:rPr lang="en-US" sz="2400" strike="sngStrike" dirty="0" smtClean="0">
                <a:solidFill>
                  <a:srgbClr val="FF0000"/>
                </a:solidFill>
              </a:rPr>
              <a:t>Probably for money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9484" y="1834205"/>
            <a:ext cx="4985555" cy="4011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6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dirty="0" smtClean="0"/>
              <a:t>– Streng vertraulich, Vertraulich, Intern –                         Autor / Thema der Präsentation</a:t>
            </a:r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4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Observing manually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ome of them were found </a:t>
            </a:r>
            <a:r>
              <a:rPr lang="en-US" sz="2400" dirty="0" smtClean="0"/>
              <a:t>to </a:t>
            </a:r>
            <a:r>
              <a:rPr lang="en-US" sz="2400" dirty="0" smtClean="0">
                <a:solidFill>
                  <a:srgbClr val="FF0000"/>
                </a:solidFill>
              </a:rPr>
              <a:t>be</a:t>
            </a:r>
            <a:r>
              <a:rPr lang="en-US" sz="2400" dirty="0" smtClean="0"/>
              <a:t> </a:t>
            </a:r>
            <a:r>
              <a:rPr lang="en-US" sz="2400" dirty="0" smtClean="0"/>
              <a:t>bots, which published many posts for diverted reasons.</a:t>
            </a:r>
          </a:p>
          <a:p>
            <a:pPr lvl="1" eaLnBrk="1" hangingPunct="1">
              <a:buSzTx/>
            </a:pPr>
            <a:r>
              <a:rPr lang="en-US" sz="2400" dirty="0" smtClean="0"/>
              <a:t> 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580" y="2051874"/>
            <a:ext cx="5182035" cy="3886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28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5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luster3 (main features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age in days : 920.91 days ~ 2.5 years old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 length : 10.77 words (Shorten than other clusters which has 14 words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posts per day : 60.177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aved the default profile : 68.2%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riends – followers ratio : 7.187 (The users are more follow other users than other users follow them)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riends : 733.0579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followers : 315.88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verage number of posts: 20,938.1729</a:t>
            </a:r>
          </a:p>
          <a:p>
            <a:pPr lvl="1" eaLnBrk="1" hangingPunct="1">
              <a:buSzTx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03761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Labeling good actor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09941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7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Labeling good actor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n order to use supervised learning methods for studying users we have to gain a list of labeled good acto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n these days we </a:t>
            </a:r>
            <a:r>
              <a:rPr lang="en-US" sz="2400" dirty="0"/>
              <a:t>define descriptive rules </a:t>
            </a:r>
            <a:r>
              <a:rPr lang="en-US" sz="2400" dirty="0" smtClean="0"/>
              <a:t>for labeling good actors manually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will take the users from Cluster1, which were found to be regular user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will use the Committee of Experts method in order to find good actor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ryone of BGU team will label authors according to the rules that were determined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inally, we should gain authors </a:t>
            </a:r>
            <a:r>
              <a:rPr lang="en-US" sz="2400" smtClean="0"/>
              <a:t>that </a:t>
            </a:r>
            <a:r>
              <a:rPr lang="en-US" sz="2400" smtClean="0">
                <a:solidFill>
                  <a:srgbClr val="FF0000"/>
                </a:solidFill>
              </a:rPr>
              <a:t>were </a:t>
            </a:r>
            <a:r>
              <a:rPr lang="en-US" sz="2400" smtClean="0"/>
              <a:t>labeled </a:t>
            </a:r>
            <a:r>
              <a:rPr lang="en-US" sz="2400" dirty="0" smtClean="0"/>
              <a:t>as good actors by every one of the experts.  </a:t>
            </a:r>
          </a:p>
          <a:p>
            <a:pPr lvl="1" eaLnBrk="1" hangingPunct="1">
              <a:buSzTx/>
            </a:pPr>
            <a:r>
              <a:rPr lang="en-US" sz="2400" dirty="0" smtClean="0"/>
              <a:t> 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13805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1321967" y="2484441"/>
            <a:ext cx="6882919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Next step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963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8952" y="2317689"/>
            <a:ext cx="1554507" cy="1635229"/>
          </a:xfrm>
          <a:prstGeom prst="rightArrow">
            <a:avLst>
              <a:gd name="adj1" fmla="val 69148"/>
              <a:gd name="adj2" fmla="val 58454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>
            <a:lvl1pPr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141288" indent="-139700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686074" eaLnBrk="1" hangingPunct="1">
              <a:spcBef>
                <a:spcPct val="0"/>
              </a:spcBef>
              <a:spcAft>
                <a:spcPct val="20000"/>
              </a:spcAft>
            </a:pPr>
            <a:endParaRPr lang="de-DE" altLang="de-DE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42538"/>
          </a:xfrm>
        </p:spPr>
        <p:txBody>
          <a:bodyPr/>
          <a:lstStyle/>
          <a:p>
            <a:r>
              <a:rPr lang="en-US" altLang="en-US" dirty="0" smtClean="0"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rPr>
              <a:t>SUPERVISED AUTHORS CLASSIFIC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>
                <a:latin typeface="Tele-GroteskNor" pitchFamily="2" charset="0"/>
              </a:rPr>
              <a:t>DIFFTRACK: Methodology.</a:t>
            </a:r>
            <a:endParaRPr lang="en-US" dirty="0">
              <a:latin typeface="Tele-GroteskNor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72F07B6-2ABC-4101-8213-C418DD733EC7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3414810" y="5557312"/>
            <a:ext cx="3206415" cy="138499"/>
          </a:xfrm>
        </p:spPr>
        <p:txBody>
          <a:bodyPr/>
          <a:lstStyle/>
          <a:p>
            <a:pPr>
              <a:defRPr/>
            </a:pPr>
            <a:r>
              <a:rPr lang="en-US" smtClean="0"/>
              <a:t>– strictly confidential – 	M.Amparo Sanmateu</a:t>
            </a:r>
            <a:endParaRPr lang="en-US"/>
          </a:p>
        </p:txBody>
      </p:sp>
      <p:pic>
        <p:nvPicPr>
          <p:cNvPr id="154628" name="Picture 4" descr="http://www.mycommunitymanager.fr/wp-content/uploads/2015/05/fakefollowers2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558" y="4546838"/>
            <a:ext cx="1979592" cy="97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630" name="Picture 6" descr="http://www.adsable.com/blog/wp-content/uploads/are-we-real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8256" y1="46802" x2="49419" y2="47965"/>
                        <a14:foregroundMark x1="50872" y1="54942" x2="50872" y2="55814"/>
                        <a14:foregroundMark x1="50872" y1="56395" x2="52326" y2="56395"/>
                        <a14:foregroundMark x1="34012" y1="58721" x2="33140" y2="83721"/>
                        <a14:foregroundMark x1="62791" y1="56395" x2="66570" y2="82267"/>
                        <a14:foregroundMark x1="46512" y1="46512" x2="48547" y2="50000"/>
                        <a14:backgroundMark x1="25872" y1="39826" x2="42733" y2="54070"/>
                        <a14:backgroundMark x1="54942" y1="52326" x2="75000" y2="43895"/>
                        <a14:backgroundMark x1="44767" y1="57558" x2="49419" y2="63081"/>
                        <a14:backgroundMark x1="46802" y1="43023" x2="50291" y2="43023"/>
                        <a14:backgroundMark x1="45930" y1="54651" x2="55814" y2="508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8109" y="3610186"/>
            <a:ext cx="2035580" cy="20355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1783767" y="2317689"/>
            <a:ext cx="3018719" cy="1511486"/>
            <a:chOff x="365734" y="2006281"/>
            <a:chExt cx="5608345" cy="2808123"/>
          </a:xfrm>
        </p:grpSpPr>
        <p:pic>
          <p:nvPicPr>
            <p:cNvPr id="154626" name="Picture 2" descr="http://cs.ucsb.edu/~xiaohanzhao/Publications_files/crowdturfing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4076" y="2066709"/>
              <a:ext cx="3800003" cy="2747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2" name="Picture 8" descr="http://www.buy-cheap-social.com/wp-content/uploads/2015/03/buy-cheap-social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5" y="2813449"/>
              <a:ext cx="1621472" cy="48200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4" name="Picture 10" descr="iDigic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4" y="3485226"/>
              <a:ext cx="1621473" cy="39528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6" name="Picture 12" descr="Buy Facebook Image &#10;&#10;Likes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6" y="2006281"/>
              <a:ext cx="1621472" cy="807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637" name="Picture 13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34" y="4077557"/>
              <a:ext cx="1621472" cy="659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" name="Group 4"/>
          <p:cNvGrpSpPr>
            <a:grpSpLocks/>
          </p:cNvGrpSpPr>
          <p:nvPr/>
        </p:nvGrpSpPr>
        <p:grpSpPr bwMode="auto">
          <a:xfrm>
            <a:off x="7050064" y="2317689"/>
            <a:ext cx="1491245" cy="1462659"/>
            <a:chOff x="2180" y="1797"/>
            <a:chExt cx="1380" cy="1354"/>
          </a:xfrm>
        </p:grpSpPr>
        <p:grpSp>
          <p:nvGrpSpPr>
            <p:cNvPr id="17" name="Group 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22" name="Freeform 6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24" name="Freeform 8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  <p:grpSp>
          <p:nvGrpSpPr>
            <p:cNvPr id="18" name="Group 9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9" name="Freeform 10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tx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20" name="Freeform 11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21" name="Freeform 12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</p:grpSp>
      <p:sp>
        <p:nvSpPr>
          <p:cNvPr id="10" name="TextBox 9"/>
          <p:cNvSpPr txBox="1"/>
          <p:nvPr/>
        </p:nvSpPr>
        <p:spPr>
          <a:xfrm>
            <a:off x="138952" y="1981910"/>
            <a:ext cx="1853071" cy="230832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/>
            </a:pPr>
            <a:r>
              <a:rPr lang="en-US" b="1" dirty="0" smtClean="0"/>
              <a:t>Create labeled dataset </a:t>
            </a:r>
            <a:endParaRPr lang="he-IL" b="1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6307040" y="3787809"/>
            <a:ext cx="2734723" cy="230832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 startAt="2"/>
            </a:pPr>
            <a:r>
              <a:rPr lang="en-US" b="1" dirty="0" smtClean="0"/>
              <a:t>Train Machine Learning  Classifi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350317" y="4315084"/>
            <a:ext cx="2205307" cy="461665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marL="343037" indent="-343037">
              <a:spcBef>
                <a:spcPts val="0"/>
              </a:spcBef>
              <a:spcAft>
                <a:spcPts val="338"/>
              </a:spcAft>
              <a:buFont typeface="+mj-lt"/>
              <a:buAutoNum type="arabicPeriod" startAt="3"/>
            </a:pPr>
            <a:r>
              <a:rPr lang="en-US" b="1" dirty="0" smtClean="0"/>
              <a:t>Test classifiers on real data  operated by CRM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097041" y="2335552"/>
            <a:ext cx="944534" cy="594232"/>
            <a:chOff x="417147" y="3983719"/>
            <a:chExt cx="1258887" cy="792000"/>
          </a:xfrm>
        </p:grpSpPr>
        <p:sp>
          <p:nvSpPr>
            <p:cNvPr id="32" name="Rectangle 1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17147" y="3983719"/>
              <a:ext cx="1258887" cy="792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Fet" pitchFamily="2" charset="0"/>
                </a:defRPr>
              </a:lvl1pPr>
              <a:lvl2pPr marL="742950" indent="-285750"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buClrTx/>
                <a:buFontTx/>
                <a:buNone/>
              </a:pPr>
              <a:r>
                <a:rPr lang="en-US" altLang="de-DE" sz="1351" dirty="0">
                  <a:solidFill>
                    <a:schemeClr val="bg1"/>
                  </a:solidFill>
                </a:rPr>
                <a:t>VICO</a:t>
              </a:r>
            </a:p>
          </p:txBody>
        </p:sp>
        <p:pic>
          <p:nvPicPr>
            <p:cNvPr id="33" name="Picture 2" descr="https://encrypted-tbn2.gstatic.com/images?q=tbn:ANd9GcRlSqx5c6_eOxb6-HRS4rtti7qiwukbJ6OmshzwAyKCgx5L4yHR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37" y="4217112"/>
              <a:ext cx="773112" cy="325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4640" name="Picture 16" descr="http://www.thevintagedirectory.co.uk/wp-content/uploads/2014/02/tweety.jpg"/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752151"/>
            <a:ext cx="762310" cy="76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Bent Arrow 11"/>
          <p:cNvSpPr/>
          <p:nvPr/>
        </p:nvSpPr>
        <p:spPr bwMode="auto">
          <a:xfrm rot="10800000">
            <a:off x="6165927" y="4063250"/>
            <a:ext cx="1789443" cy="1563312"/>
          </a:xfrm>
          <a:prstGeom prst="bentArrow">
            <a:avLst>
              <a:gd name="adj1" fmla="val 21667"/>
              <a:gd name="adj2" fmla="val 28020"/>
              <a:gd name="adj3" fmla="val 25000"/>
              <a:gd name="adj4" fmla="val 43750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>
            <a:off x="5052265" y="2837403"/>
            <a:ext cx="185391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0800000">
            <a:off x="2356117" y="4780816"/>
            <a:ext cx="2199507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630" y="321379"/>
            <a:ext cx="2154443" cy="810481"/>
          </a:xfrm>
          <a:prstGeom prst="rect">
            <a:avLst/>
          </a:prstGeom>
        </p:spPr>
      </p:pic>
      <p:sp>
        <p:nvSpPr>
          <p:cNvPr id="34" name="Right Arrow 33"/>
          <p:cNvSpPr/>
          <p:nvPr/>
        </p:nvSpPr>
        <p:spPr bwMode="auto">
          <a:xfrm rot="5400000">
            <a:off x="7284646" y="1395385"/>
            <a:ext cx="1120950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5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The pilot has been carried out on June, the 25-th, 2016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uring the pilot, we acquired hundreds of followers, and </a:t>
            </a:r>
            <a:r>
              <a:rPr lang="en-US" sz="2400" dirty="0" err="1" smtClean="0"/>
              <a:t>retweeters</a:t>
            </a:r>
            <a:r>
              <a:rPr lang="en-US" sz="2400" dirty="0" smtClean="0"/>
              <a:t> within Twitter from </a:t>
            </a:r>
            <a:r>
              <a:rPr lang="en-US" sz="2400" strike="sngStrike" dirty="0" smtClean="0">
                <a:solidFill>
                  <a:srgbClr val="FF0000"/>
                </a:solidFill>
              </a:rPr>
              <a:t>advertising</a:t>
            </a:r>
            <a:r>
              <a:rPr lang="en-US" sz="2400" dirty="0" smtClean="0">
                <a:solidFill>
                  <a:srgbClr val="FF0000"/>
                </a:solidFill>
              </a:rPr>
              <a:t> </a:t>
            </a:r>
            <a:r>
              <a:rPr lang="en-US" sz="2400" dirty="0" smtClean="0"/>
              <a:t>third party services.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98" y="2220360"/>
            <a:ext cx="2530059" cy="5944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332" y="1682749"/>
            <a:ext cx="3206727" cy="7467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3587763"/>
            <a:ext cx="1781569" cy="51868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92" y="5422880"/>
            <a:ext cx="3200677" cy="48010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2" y="3625838"/>
            <a:ext cx="2316268" cy="4806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5824" y="2463677"/>
            <a:ext cx="1379340" cy="6020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551" y="4982878"/>
            <a:ext cx="3139712" cy="13336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365" y="3211398"/>
            <a:ext cx="4234042" cy="163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5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Eventually, we were able to acquire </a:t>
            </a:r>
            <a:r>
              <a:rPr lang="en-US" sz="2400" b="1" dirty="0" smtClean="0"/>
              <a:t>4,160</a:t>
            </a:r>
            <a:r>
              <a:rPr lang="en-US" sz="2400" dirty="0" smtClean="0"/>
              <a:t> users who followed our users, or retweeted our post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defined these users as bad actors because they boosted our posts, and users for </a:t>
            </a:r>
            <a:r>
              <a:rPr lang="en-US" sz="2400" dirty="0" smtClean="0"/>
              <a:t>money </a:t>
            </a:r>
            <a:r>
              <a:rPr lang="en-US" sz="2400" dirty="0" smtClean="0">
                <a:solidFill>
                  <a:srgbClr val="FF0000"/>
                </a:solidFill>
              </a:rPr>
              <a:t>what is users for money?</a:t>
            </a:r>
            <a:r>
              <a:rPr lang="en-US" sz="2400" dirty="0" smtClean="0"/>
              <a:t>. </a:t>
            </a:r>
            <a:r>
              <a:rPr lang="en-US" sz="2400" strike="sngStrike" dirty="0" smtClean="0">
                <a:solidFill>
                  <a:srgbClr val="FF0000"/>
                </a:solidFill>
              </a:rPr>
              <a:t>They boosted us artificially. They did not boost us because they think like us, or they are really our friends</a:t>
            </a:r>
            <a:r>
              <a:rPr lang="en-US" sz="2400" strike="sngStrike" dirty="0" smtClean="0">
                <a:solidFill>
                  <a:srgbClr val="FF0000"/>
                </a:solidFill>
              </a:rPr>
              <a:t>.</a:t>
            </a:r>
            <a:r>
              <a:rPr lang="en-US" sz="2400" dirty="0" smtClean="0">
                <a:solidFill>
                  <a:srgbClr val="FF0000"/>
                </a:solidFill>
              </a:rPr>
              <a:t> – redundant in my opinion</a:t>
            </a:r>
            <a:r>
              <a:rPr lang="en-US" sz="2400" strike="sngStrike" dirty="0" smtClean="0">
                <a:solidFill>
                  <a:srgbClr val="FF0000"/>
                </a:solidFill>
              </a:rPr>
              <a:t>   </a:t>
            </a:r>
            <a:endParaRPr lang="en-US" sz="2400" strike="sngStrike" dirty="0" smtClean="0">
              <a:solidFill>
                <a:srgbClr val="FF0000"/>
              </a:solidFill>
            </a:endParaRP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dirty="0" smtClean="0"/>
              <a:t>From </a:t>
            </a:r>
            <a:r>
              <a:rPr lang="de-DE" altLang="de-DE" sz="2400" b="1" dirty="0" smtClean="0"/>
              <a:t>4,160</a:t>
            </a:r>
            <a:r>
              <a:rPr lang="de-DE" altLang="de-DE" sz="2400" dirty="0" smtClean="0"/>
              <a:t> bad actors:</a:t>
            </a:r>
          </a:p>
          <a:p>
            <a:pPr marL="522288" lvl="2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b="1" dirty="0" smtClean="0"/>
              <a:t>440</a:t>
            </a:r>
            <a:r>
              <a:rPr lang="de-DE" altLang="de-DE" sz="2400" dirty="0" smtClean="0"/>
              <a:t> users were found via VICO‘s feed. </a:t>
            </a:r>
          </a:p>
          <a:p>
            <a:pPr marL="522288" lvl="2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de-DE" altLang="de-DE" sz="2400" b="1" dirty="0" smtClean="0"/>
              <a:t>3,716</a:t>
            </a:r>
            <a:r>
              <a:rPr lang="de-DE" altLang="de-DE" sz="2400" dirty="0" smtClean="0"/>
              <a:t> users are defined as bad actors, but VICO‘s feed did not retrieve them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361" y="3858484"/>
            <a:ext cx="3448692" cy="2064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0618" y="5089508"/>
            <a:ext cx="1895475" cy="904875"/>
          </a:xfrm>
          <a:prstGeom prst="rect">
            <a:avLst/>
          </a:prstGeom>
        </p:spPr>
      </p:pic>
      <p:pic>
        <p:nvPicPr>
          <p:cNvPr id="12" name="Picture 16" descr="http://www.thevintagedirectory.co.uk/wp-content/uploads/2014/02/tweety.jp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264" y="5160791"/>
            <a:ext cx="762310" cy="76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ight Arrow 12"/>
          <p:cNvSpPr/>
          <p:nvPr/>
        </p:nvSpPr>
        <p:spPr bwMode="auto">
          <a:xfrm rot="10800000">
            <a:off x="4915432" y="5136501"/>
            <a:ext cx="129678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8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Data collection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61676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ata collection – short summary</a:t>
            </a:r>
            <a:endParaRPr lang="en-US" altLang="de-DE" dirty="0" smtClean="0">
              <a:latin typeface="Tele-GroteskNor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53317"/>
            <a:ext cx="9144000" cy="395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19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ata collection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uring data collection phase, we were able to collect great amount of information regarding authors, and posts.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rom VICO’s feed we were able to find 13,251 users that their posts include data regarding ‘Virtual TV’ keyword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mong them 9,338 were Twitter users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Among them were 9,225 users who are not suspended</a:t>
            </a:r>
            <a:r>
              <a:rPr lang="en-US" sz="2400" dirty="0" smtClean="0"/>
              <a:t>. – </a:t>
            </a:r>
            <a:r>
              <a:rPr lang="en-US" sz="2400" dirty="0" smtClean="0">
                <a:solidFill>
                  <a:srgbClr val="FF0000"/>
                </a:solidFill>
              </a:rPr>
              <a:t>rewrite. You have among them twice ...</a:t>
            </a:r>
            <a:r>
              <a:rPr lang="en-US" sz="2400" dirty="0" smtClean="0"/>
              <a:t>  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During the data collection we also used Missing Data </a:t>
            </a:r>
            <a:r>
              <a:rPr lang="en-US" sz="2400" dirty="0" err="1" smtClean="0"/>
              <a:t>Complementor</a:t>
            </a:r>
            <a:r>
              <a:rPr lang="en-US" sz="2400" dirty="0" smtClean="0"/>
              <a:t> (MDC) app for completing the missing information regarding the authors retrieved from VICO </a:t>
            </a:r>
            <a:r>
              <a:rPr lang="en-US" sz="2400" strike="sngStrike" dirty="0" smtClean="0">
                <a:solidFill>
                  <a:srgbClr val="FF0000"/>
                </a:solidFill>
              </a:rPr>
              <a:t>and,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rgbClr val="FF0000"/>
                </a:solidFill>
              </a:rPr>
              <a:t>along with </a:t>
            </a:r>
            <a:r>
              <a:rPr lang="en-US" sz="2400" dirty="0" smtClean="0"/>
              <a:t>their </a:t>
            </a:r>
            <a:r>
              <a:rPr lang="en-US" sz="2400" dirty="0" smtClean="0"/>
              <a:t>followers, </a:t>
            </a:r>
            <a:r>
              <a:rPr lang="en-US" sz="2400" dirty="0" smtClean="0"/>
              <a:t>and </a:t>
            </a:r>
            <a:r>
              <a:rPr lang="en-US" sz="2400" dirty="0" smtClean="0">
                <a:solidFill>
                  <a:srgbClr val="FF0000"/>
                </a:solidFill>
              </a:rPr>
              <a:t>their</a:t>
            </a:r>
            <a:r>
              <a:rPr lang="en-US" sz="2400" dirty="0" smtClean="0"/>
              <a:t> </a:t>
            </a:r>
            <a:r>
              <a:rPr lang="en-US" sz="2400" dirty="0" smtClean="0"/>
              <a:t>friends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were able to collect 592,098 Twitter users via MDC who have not been retrieved from VICO.  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sp>
        <p:nvSpPr>
          <p:cNvPr id="10" name="Oval 9"/>
          <p:cNvSpPr/>
          <p:nvPr/>
        </p:nvSpPr>
        <p:spPr>
          <a:xfrm>
            <a:off x="2694214" y="4661807"/>
            <a:ext cx="2678173" cy="1769581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TwitterAPI</a:t>
            </a:r>
            <a:endParaRPr lang="en-US" dirty="0" smtClean="0">
              <a:solidFill>
                <a:schemeClr val="bg1"/>
              </a:solidFill>
            </a:endParaRP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users</a:t>
            </a:r>
            <a:endParaRPr lang="he-IL" dirty="0" err="1" smtClean="0">
              <a:solidFill>
                <a:schemeClr val="bg1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5072543" y="4938002"/>
            <a:ext cx="1355270" cy="1314450"/>
          </a:xfrm>
          <a:prstGeom prst="ellipse">
            <a:avLst/>
          </a:prstGeom>
          <a:solidFill>
            <a:srgbClr val="427B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ICO’s users</a:t>
            </a:r>
            <a:endParaRPr lang="he-IL" dirty="0" err="1" smtClean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800279" y="5173730"/>
            <a:ext cx="609427" cy="478114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6056453" y="5230348"/>
            <a:ext cx="310242" cy="364879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04025" y="5113867"/>
            <a:ext cx="2280708" cy="473206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FF0000"/>
                </a:solidFill>
              </a:rPr>
              <a:t>The diagram is redundant as it is not understood… </a:t>
            </a:r>
            <a:endParaRPr lang="he-IL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40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12.07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  <p:sp>
        <p:nvSpPr>
          <p:cNvPr id="6" name="Rectangle 4"/>
          <p:cNvSpPr txBox="1">
            <a:spLocks/>
          </p:cNvSpPr>
          <p:nvPr/>
        </p:nvSpPr>
        <p:spPr>
          <a:xfrm>
            <a:off x="257452" y="23051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Analysis Twitter users retrieved from VICO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>
          <a:xfrm>
            <a:off x="257452" y="1006256"/>
            <a:ext cx="7330292" cy="35651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For the analysis we used the 9,225 Twitter users who were retrieved via VICO’s feed and are not suspended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We ran the </a:t>
            </a:r>
            <a:r>
              <a:rPr lang="en-US" sz="2400" dirty="0" err="1" smtClean="0"/>
              <a:t>DataSet</a:t>
            </a:r>
            <a:r>
              <a:rPr lang="en-US" sz="2400" dirty="0" smtClean="0"/>
              <a:t> Builder app for finding different features in order to distinguish between the authors. 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 eaLnBrk="1" hangingPunct="1">
              <a:buSzTx/>
            </a:pPr>
            <a:endParaRPr lang="de-DE" altLang="de-DE" sz="2400" dirty="0" smtClean="0"/>
          </a:p>
        </p:txBody>
      </p:sp>
      <p:pic>
        <p:nvPicPr>
          <p:cNvPr id="7" name="Picture 6" descr="http://www.adsable.com/blog/wp-content/uploads/are-we-real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48256" y1="46802" x2="49419" y2="47965"/>
                        <a14:foregroundMark x1="50872" y1="54942" x2="50872" y2="55814"/>
                        <a14:foregroundMark x1="50872" y1="56395" x2="52326" y2="56395"/>
                        <a14:foregroundMark x1="34012" y1="58721" x2="33140" y2="83721"/>
                        <a14:foregroundMark x1="62791" y1="56395" x2="66570" y2="82267"/>
                        <a14:foregroundMark x1="46512" y1="46512" x2="48547" y2="50000"/>
                        <a14:backgroundMark x1="25872" y1="39826" x2="42733" y2="54070"/>
                        <a14:backgroundMark x1="54942" y1="52326" x2="75000" y2="43895"/>
                        <a14:backgroundMark x1="44767" y1="57558" x2="49419" y2="63081"/>
                        <a14:backgroundMark x1="46802" y1="43023" x2="50291" y2="43023"/>
                        <a14:backgroundMark x1="45930" y1="54651" x2="55814" y2="508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389" y="4163235"/>
            <a:ext cx="2035580" cy="20355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3102344" y="2870738"/>
            <a:ext cx="1491245" cy="1462659"/>
            <a:chOff x="2180" y="1797"/>
            <a:chExt cx="1380" cy="1354"/>
          </a:xfrm>
        </p:grpSpPr>
        <p:grpSp>
          <p:nvGrpSpPr>
            <p:cNvPr id="10" name="Group 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5" name="Freeform 6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16" name="Freeform 7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17" name="Freeform 8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  <p:grpSp>
          <p:nvGrpSpPr>
            <p:cNvPr id="11" name="Group 9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180" y="1797"/>
              <a:ext cx="1380" cy="1354"/>
              <a:chOff x="2291" y="1661"/>
              <a:chExt cx="1158" cy="1137"/>
            </a:xfrm>
          </p:grpSpPr>
          <p:sp>
            <p:nvSpPr>
              <p:cNvPr id="12" name="Freeform 10"/>
              <p:cNvSpPr>
                <a:spLocks noEditPoints="1"/>
              </p:cNvSpPr>
              <p:nvPr/>
            </p:nvSpPr>
            <p:spPr bwMode="gray">
              <a:xfrm>
                <a:off x="2699" y="1661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tx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gray">
              <a:xfrm>
                <a:off x="2291" y="2065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bg2"/>
              </a:solidFill>
              <a:ln w="6350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0800" dir="5400000" algn="t" rotWithShape="0">
                        <a:srgbClr val="777777">
                          <a:alpha val="39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54021" tIns="54021" rIns="54021" bIns="54021" anchor="ctr"/>
              <a:lstStyle/>
              <a:p>
                <a:endParaRPr lang="he-IL"/>
              </a:p>
            </p:txBody>
          </p:sp>
          <p:sp>
            <p:nvSpPr>
              <p:cNvPr id="14" name="Freeform 12"/>
              <p:cNvSpPr>
                <a:spLocks noEditPoints="1"/>
              </p:cNvSpPr>
              <p:nvPr/>
            </p:nvSpPr>
            <p:spPr bwMode="gray">
              <a:xfrm>
                <a:off x="2859" y="2210"/>
                <a:ext cx="590" cy="588"/>
              </a:xfrm>
              <a:custGeom>
                <a:avLst/>
                <a:gdLst>
                  <a:gd name="T0" fmla="*/ 355 w 495"/>
                  <a:gd name="T1" fmla="*/ 452 h 493"/>
                  <a:gd name="T2" fmla="*/ 362 w 495"/>
                  <a:gd name="T3" fmla="*/ 465 h 493"/>
                  <a:gd name="T4" fmla="*/ 378 w 495"/>
                  <a:gd name="T5" fmla="*/ 478 h 493"/>
                  <a:gd name="T6" fmla="*/ 404 w 495"/>
                  <a:gd name="T7" fmla="*/ 488 h 493"/>
                  <a:gd name="T8" fmla="*/ 416 w 495"/>
                  <a:gd name="T9" fmla="*/ 490 h 493"/>
                  <a:gd name="T10" fmla="*/ 430 w 495"/>
                  <a:gd name="T11" fmla="*/ 490 h 493"/>
                  <a:gd name="T12" fmla="*/ 451 w 495"/>
                  <a:gd name="T13" fmla="*/ 485 h 493"/>
                  <a:gd name="T14" fmla="*/ 461 w 495"/>
                  <a:gd name="T15" fmla="*/ 481 h 493"/>
                  <a:gd name="T16" fmla="*/ 474 w 495"/>
                  <a:gd name="T17" fmla="*/ 472 h 493"/>
                  <a:gd name="T18" fmla="*/ 483 w 495"/>
                  <a:gd name="T19" fmla="*/ 460 h 493"/>
                  <a:gd name="T20" fmla="*/ 495 w 495"/>
                  <a:gd name="T21" fmla="*/ 444 h 493"/>
                  <a:gd name="T22" fmla="*/ 497 w 495"/>
                  <a:gd name="T23" fmla="*/ 431 h 493"/>
                  <a:gd name="T24" fmla="*/ 502 w 495"/>
                  <a:gd name="T25" fmla="*/ 416 h 493"/>
                  <a:gd name="T26" fmla="*/ 501 w 495"/>
                  <a:gd name="T27" fmla="*/ 404 h 493"/>
                  <a:gd name="T28" fmla="*/ 493 w 495"/>
                  <a:gd name="T29" fmla="*/ 378 h 493"/>
                  <a:gd name="T30" fmla="*/ 486 w 495"/>
                  <a:gd name="T31" fmla="*/ 367 h 493"/>
                  <a:gd name="T32" fmla="*/ 477 w 495"/>
                  <a:gd name="T33" fmla="*/ 355 h 493"/>
                  <a:gd name="T34" fmla="*/ 466 w 495"/>
                  <a:gd name="T35" fmla="*/ 348 h 493"/>
                  <a:gd name="T36" fmla="*/ 442 w 495"/>
                  <a:gd name="T37" fmla="*/ 335 h 493"/>
                  <a:gd name="T38" fmla="*/ 429 w 495"/>
                  <a:gd name="T39" fmla="*/ 334 h 493"/>
                  <a:gd name="T40" fmla="*/ 414 w 495"/>
                  <a:gd name="T41" fmla="*/ 334 h 493"/>
                  <a:gd name="T42" fmla="*/ 387 w 495"/>
                  <a:gd name="T43" fmla="*/ 342 h 493"/>
                  <a:gd name="T44" fmla="*/ 377 w 495"/>
                  <a:gd name="T45" fmla="*/ 349 h 493"/>
                  <a:gd name="T46" fmla="*/ 365 w 495"/>
                  <a:gd name="T47" fmla="*/ 359 h 493"/>
                  <a:gd name="T48" fmla="*/ 350 w 495"/>
                  <a:gd name="T49" fmla="*/ 379 h 493"/>
                  <a:gd name="T50" fmla="*/ 346 w 495"/>
                  <a:gd name="T51" fmla="*/ 400 h 493"/>
                  <a:gd name="T52" fmla="*/ 343 w 495"/>
                  <a:gd name="T53" fmla="*/ 414 h 493"/>
                  <a:gd name="T54" fmla="*/ 347 w 495"/>
                  <a:gd name="T55" fmla="*/ 434 h 493"/>
                  <a:gd name="T56" fmla="*/ 266 w 495"/>
                  <a:gd name="T57" fmla="*/ 23 h 493"/>
                  <a:gd name="T58" fmla="*/ 406 w 495"/>
                  <a:gd name="T59" fmla="*/ 87 h 493"/>
                  <a:gd name="T60" fmla="*/ 445 w 495"/>
                  <a:gd name="T61" fmla="*/ 87 h 493"/>
                  <a:gd name="T62" fmla="*/ 483 w 495"/>
                  <a:gd name="T63" fmla="*/ 91 h 493"/>
                  <a:gd name="T64" fmla="*/ 625 w 495"/>
                  <a:gd name="T65" fmla="*/ 44 h 493"/>
                  <a:gd name="T66" fmla="*/ 635 w 495"/>
                  <a:gd name="T67" fmla="*/ 165 h 493"/>
                  <a:gd name="T68" fmla="*/ 654 w 495"/>
                  <a:gd name="T69" fmla="*/ 185 h 493"/>
                  <a:gd name="T70" fmla="*/ 673 w 495"/>
                  <a:gd name="T71" fmla="*/ 208 h 493"/>
                  <a:gd name="T72" fmla="*/ 819 w 495"/>
                  <a:gd name="T73" fmla="*/ 267 h 493"/>
                  <a:gd name="T74" fmla="*/ 743 w 495"/>
                  <a:gd name="T75" fmla="*/ 361 h 493"/>
                  <a:gd name="T76" fmla="*/ 747 w 495"/>
                  <a:gd name="T77" fmla="*/ 397 h 493"/>
                  <a:gd name="T78" fmla="*/ 838 w 495"/>
                  <a:gd name="T79" fmla="*/ 481 h 493"/>
                  <a:gd name="T80" fmla="*/ 712 w 495"/>
                  <a:gd name="T81" fmla="*/ 563 h 493"/>
                  <a:gd name="T82" fmla="*/ 691 w 495"/>
                  <a:gd name="T83" fmla="*/ 596 h 493"/>
                  <a:gd name="T84" fmla="*/ 673 w 495"/>
                  <a:gd name="T85" fmla="*/ 619 h 493"/>
                  <a:gd name="T86" fmla="*/ 696 w 495"/>
                  <a:gd name="T87" fmla="*/ 730 h 493"/>
                  <a:gd name="T88" fmla="*/ 547 w 495"/>
                  <a:gd name="T89" fmla="*/ 714 h 493"/>
                  <a:gd name="T90" fmla="*/ 511 w 495"/>
                  <a:gd name="T91" fmla="*/ 725 h 493"/>
                  <a:gd name="T92" fmla="*/ 477 w 495"/>
                  <a:gd name="T93" fmla="*/ 734 h 493"/>
                  <a:gd name="T94" fmla="*/ 356 w 495"/>
                  <a:gd name="T95" fmla="*/ 829 h 493"/>
                  <a:gd name="T96" fmla="*/ 309 w 495"/>
                  <a:gd name="T97" fmla="*/ 718 h 493"/>
                  <a:gd name="T98" fmla="*/ 274 w 495"/>
                  <a:gd name="T99" fmla="*/ 702 h 493"/>
                  <a:gd name="T100" fmla="*/ 162 w 495"/>
                  <a:gd name="T101" fmla="*/ 745 h 493"/>
                  <a:gd name="T102" fmla="*/ 149 w 495"/>
                  <a:gd name="T103" fmla="*/ 590 h 493"/>
                  <a:gd name="T104" fmla="*/ 139 w 495"/>
                  <a:gd name="T105" fmla="*/ 574 h 493"/>
                  <a:gd name="T106" fmla="*/ 123 w 495"/>
                  <a:gd name="T107" fmla="*/ 539 h 493"/>
                  <a:gd name="T108" fmla="*/ 8 w 495"/>
                  <a:gd name="T109" fmla="*/ 494 h 493"/>
                  <a:gd name="T110" fmla="*/ 99 w 495"/>
                  <a:gd name="T111" fmla="*/ 371 h 493"/>
                  <a:gd name="T112" fmla="*/ 106 w 495"/>
                  <a:gd name="T113" fmla="*/ 334 h 493"/>
                  <a:gd name="T114" fmla="*/ 112 w 495"/>
                  <a:gd name="T115" fmla="*/ 316 h 493"/>
                  <a:gd name="T116" fmla="*/ 54 w 495"/>
                  <a:gd name="T117" fmla="*/ 211 h 493"/>
                  <a:gd name="T118" fmla="*/ 200 w 495"/>
                  <a:gd name="T119" fmla="*/ 174 h 493"/>
                  <a:gd name="T120" fmla="*/ 230 w 495"/>
                  <a:gd name="T121" fmla="*/ 149 h 493"/>
                  <a:gd name="T122" fmla="*/ 263 w 495"/>
                  <a:gd name="T123" fmla="*/ 130 h 4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95" h="493">
                    <a:moveTo>
                      <a:pt x="208" y="264"/>
                    </a:moveTo>
                    <a:lnTo>
                      <a:pt x="210" y="267"/>
                    </a:lnTo>
                    <a:lnTo>
                      <a:pt x="212" y="270"/>
                    </a:lnTo>
                    <a:lnTo>
                      <a:pt x="214" y="274"/>
                    </a:lnTo>
                    <a:lnTo>
                      <a:pt x="217" y="277"/>
                    </a:lnTo>
                    <a:lnTo>
                      <a:pt x="223" y="282"/>
                    </a:lnTo>
                    <a:lnTo>
                      <a:pt x="230" y="286"/>
                    </a:lnTo>
                    <a:lnTo>
                      <a:pt x="238" y="288"/>
                    </a:lnTo>
                    <a:lnTo>
                      <a:pt x="242" y="289"/>
                    </a:lnTo>
                    <a:lnTo>
                      <a:pt x="246" y="289"/>
                    </a:lnTo>
                    <a:lnTo>
                      <a:pt x="250" y="290"/>
                    </a:lnTo>
                    <a:lnTo>
                      <a:pt x="254" y="289"/>
                    </a:lnTo>
                    <a:lnTo>
                      <a:pt x="262" y="288"/>
                    </a:lnTo>
                    <a:lnTo>
                      <a:pt x="266" y="286"/>
                    </a:lnTo>
                    <a:lnTo>
                      <a:pt x="270" y="285"/>
                    </a:lnTo>
                    <a:lnTo>
                      <a:pt x="273" y="283"/>
                    </a:lnTo>
                    <a:lnTo>
                      <a:pt x="277" y="281"/>
                    </a:lnTo>
                    <a:lnTo>
                      <a:pt x="280" y="278"/>
                    </a:lnTo>
                    <a:lnTo>
                      <a:pt x="283" y="275"/>
                    </a:lnTo>
                    <a:lnTo>
                      <a:pt x="285" y="272"/>
                    </a:lnTo>
                    <a:lnTo>
                      <a:pt x="288" y="269"/>
                    </a:lnTo>
                    <a:lnTo>
                      <a:pt x="292" y="262"/>
                    </a:lnTo>
                    <a:lnTo>
                      <a:pt x="293" y="258"/>
                    </a:lnTo>
                    <a:lnTo>
                      <a:pt x="294" y="254"/>
                    </a:lnTo>
                    <a:lnTo>
                      <a:pt x="295" y="250"/>
                    </a:lnTo>
                    <a:lnTo>
                      <a:pt x="296" y="246"/>
                    </a:lnTo>
                    <a:lnTo>
                      <a:pt x="296" y="242"/>
                    </a:lnTo>
                    <a:lnTo>
                      <a:pt x="295" y="238"/>
                    </a:lnTo>
                    <a:lnTo>
                      <a:pt x="294" y="230"/>
                    </a:lnTo>
                    <a:lnTo>
                      <a:pt x="291" y="223"/>
                    </a:lnTo>
                    <a:lnTo>
                      <a:pt x="289" y="219"/>
                    </a:lnTo>
                    <a:lnTo>
                      <a:pt x="287" y="216"/>
                    </a:lnTo>
                    <a:lnTo>
                      <a:pt x="284" y="213"/>
                    </a:lnTo>
                    <a:lnTo>
                      <a:pt x="282" y="210"/>
                    </a:lnTo>
                    <a:lnTo>
                      <a:pt x="279" y="207"/>
                    </a:lnTo>
                    <a:lnTo>
                      <a:pt x="275" y="205"/>
                    </a:lnTo>
                    <a:lnTo>
                      <a:pt x="268" y="201"/>
                    </a:lnTo>
                    <a:lnTo>
                      <a:pt x="261" y="198"/>
                    </a:lnTo>
                    <a:lnTo>
                      <a:pt x="257" y="197"/>
                    </a:lnTo>
                    <a:lnTo>
                      <a:pt x="253" y="197"/>
                    </a:lnTo>
                    <a:lnTo>
                      <a:pt x="249" y="197"/>
                    </a:lnTo>
                    <a:lnTo>
                      <a:pt x="244" y="197"/>
                    </a:lnTo>
                    <a:lnTo>
                      <a:pt x="237" y="199"/>
                    </a:lnTo>
                    <a:lnTo>
                      <a:pt x="229" y="202"/>
                    </a:lnTo>
                    <a:lnTo>
                      <a:pt x="225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6" y="211"/>
                    </a:lnTo>
                    <a:lnTo>
                      <a:pt x="211" y="217"/>
                    </a:lnTo>
                    <a:lnTo>
                      <a:pt x="207" y="224"/>
                    </a:lnTo>
                    <a:lnTo>
                      <a:pt x="204" y="232"/>
                    </a:lnTo>
                    <a:lnTo>
                      <a:pt x="204" y="236"/>
                    </a:lnTo>
                    <a:lnTo>
                      <a:pt x="203" y="240"/>
                    </a:lnTo>
                    <a:lnTo>
                      <a:pt x="203" y="244"/>
                    </a:lnTo>
                    <a:lnTo>
                      <a:pt x="203" y="248"/>
                    </a:lnTo>
                    <a:lnTo>
                      <a:pt x="205" y="256"/>
                    </a:lnTo>
                    <a:lnTo>
                      <a:pt x="208" y="264"/>
                    </a:lnTo>
                    <a:close/>
                    <a:moveTo>
                      <a:pt x="157" y="13"/>
                    </a:moveTo>
                    <a:lnTo>
                      <a:pt x="202" y="0"/>
                    </a:lnTo>
                    <a:lnTo>
                      <a:pt x="240" y="51"/>
                    </a:lnTo>
                    <a:lnTo>
                      <a:pt x="251" y="51"/>
                    </a:lnTo>
                    <a:lnTo>
                      <a:pt x="263" y="51"/>
                    </a:lnTo>
                    <a:lnTo>
                      <a:pt x="274" y="53"/>
                    </a:lnTo>
                    <a:lnTo>
                      <a:pt x="285" y="54"/>
                    </a:lnTo>
                    <a:lnTo>
                      <a:pt x="327" y="7"/>
                    </a:lnTo>
                    <a:lnTo>
                      <a:pt x="369" y="26"/>
                    </a:lnTo>
                    <a:lnTo>
                      <a:pt x="366" y="90"/>
                    </a:lnTo>
                    <a:lnTo>
                      <a:pt x="375" y="97"/>
                    </a:lnTo>
                    <a:lnTo>
                      <a:pt x="383" y="105"/>
                    </a:lnTo>
                    <a:lnTo>
                      <a:pt x="387" y="109"/>
                    </a:lnTo>
                    <a:lnTo>
                      <a:pt x="391" y="113"/>
                    </a:lnTo>
                    <a:lnTo>
                      <a:pt x="398" y="122"/>
                    </a:lnTo>
                    <a:lnTo>
                      <a:pt x="463" y="116"/>
                    </a:lnTo>
                    <a:lnTo>
                      <a:pt x="483" y="158"/>
                    </a:lnTo>
                    <a:lnTo>
                      <a:pt x="437" y="202"/>
                    </a:lnTo>
                    <a:lnTo>
                      <a:pt x="439" y="213"/>
                    </a:lnTo>
                    <a:lnTo>
                      <a:pt x="440" y="223"/>
                    </a:lnTo>
                    <a:lnTo>
                      <a:pt x="441" y="234"/>
                    </a:lnTo>
                    <a:lnTo>
                      <a:pt x="441" y="246"/>
                    </a:lnTo>
                    <a:lnTo>
                      <a:pt x="495" y="283"/>
                    </a:lnTo>
                    <a:lnTo>
                      <a:pt x="484" y="328"/>
                    </a:lnTo>
                    <a:lnTo>
                      <a:pt x="420" y="332"/>
                    </a:lnTo>
                    <a:lnTo>
                      <a:pt x="414" y="342"/>
                    </a:lnTo>
                    <a:lnTo>
                      <a:pt x="409" y="351"/>
                    </a:lnTo>
                    <a:lnTo>
                      <a:pt x="402" y="360"/>
                    </a:lnTo>
                    <a:lnTo>
                      <a:pt x="398" y="365"/>
                    </a:lnTo>
                    <a:lnTo>
                      <a:pt x="394" y="369"/>
                    </a:lnTo>
                    <a:lnTo>
                      <a:pt x="411" y="430"/>
                    </a:lnTo>
                    <a:lnTo>
                      <a:pt x="373" y="457"/>
                    </a:lnTo>
                    <a:lnTo>
                      <a:pt x="323" y="421"/>
                    </a:lnTo>
                    <a:lnTo>
                      <a:pt x="313" y="425"/>
                    </a:lnTo>
                    <a:lnTo>
                      <a:pt x="302" y="428"/>
                    </a:lnTo>
                    <a:lnTo>
                      <a:pt x="292" y="431"/>
                    </a:lnTo>
                    <a:lnTo>
                      <a:pt x="282" y="433"/>
                    </a:lnTo>
                    <a:lnTo>
                      <a:pt x="257" y="493"/>
                    </a:lnTo>
                    <a:lnTo>
                      <a:pt x="211" y="489"/>
                    </a:lnTo>
                    <a:lnTo>
                      <a:pt x="192" y="427"/>
                    </a:lnTo>
                    <a:lnTo>
                      <a:pt x="182" y="423"/>
                    </a:lnTo>
                    <a:lnTo>
                      <a:pt x="171" y="419"/>
                    </a:lnTo>
                    <a:lnTo>
                      <a:pt x="162" y="414"/>
                    </a:lnTo>
                    <a:lnTo>
                      <a:pt x="152" y="409"/>
                    </a:lnTo>
                    <a:lnTo>
                      <a:pt x="96" y="439"/>
                    </a:lnTo>
                    <a:lnTo>
                      <a:pt x="63" y="406"/>
                    </a:lnTo>
                    <a:lnTo>
                      <a:pt x="88" y="348"/>
                    </a:lnTo>
                    <a:lnTo>
                      <a:pt x="85" y="343"/>
                    </a:lnTo>
                    <a:lnTo>
                      <a:pt x="82" y="338"/>
                    </a:lnTo>
                    <a:lnTo>
                      <a:pt x="77" y="327"/>
                    </a:lnTo>
                    <a:lnTo>
                      <a:pt x="72" y="318"/>
                    </a:lnTo>
                    <a:lnTo>
                      <a:pt x="68" y="308"/>
                    </a:lnTo>
                    <a:lnTo>
                      <a:pt x="5" y="291"/>
                    </a:lnTo>
                    <a:lnTo>
                      <a:pt x="0" y="245"/>
                    </a:lnTo>
                    <a:lnTo>
                      <a:pt x="59" y="219"/>
                    </a:lnTo>
                    <a:lnTo>
                      <a:pt x="60" y="208"/>
                    </a:lnTo>
                    <a:lnTo>
                      <a:pt x="63" y="197"/>
                    </a:lnTo>
                    <a:lnTo>
                      <a:pt x="64" y="191"/>
                    </a:lnTo>
                    <a:lnTo>
                      <a:pt x="66" y="186"/>
                    </a:lnTo>
                    <a:lnTo>
                      <a:pt x="69" y="176"/>
                    </a:lnTo>
                    <a:lnTo>
                      <a:pt x="32" y="124"/>
                    </a:lnTo>
                    <a:lnTo>
                      <a:pt x="58" y="85"/>
                    </a:lnTo>
                    <a:lnTo>
                      <a:pt x="118" y="102"/>
                    </a:lnTo>
                    <a:lnTo>
                      <a:pt x="127" y="95"/>
                    </a:lnTo>
                    <a:lnTo>
                      <a:pt x="136" y="88"/>
                    </a:lnTo>
                    <a:lnTo>
                      <a:pt x="146" y="81"/>
                    </a:lnTo>
                    <a:lnTo>
                      <a:pt x="155" y="76"/>
                    </a:lnTo>
                    <a:lnTo>
                      <a:pt x="157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he-IL"/>
              </a:p>
            </p:txBody>
          </p:sp>
        </p:grpSp>
      </p:grpSp>
      <p:sp>
        <p:nvSpPr>
          <p:cNvPr id="18" name="TextBox 17"/>
          <p:cNvSpPr txBox="1"/>
          <p:nvPr/>
        </p:nvSpPr>
        <p:spPr>
          <a:xfrm>
            <a:off x="3020200" y="4394780"/>
            <a:ext cx="1974900" cy="511679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>
              <a:spcBef>
                <a:spcPts val="0"/>
              </a:spcBef>
              <a:spcAft>
                <a:spcPts val="338"/>
              </a:spcAft>
            </a:pPr>
            <a:r>
              <a:rPr lang="en-US" b="1" dirty="0" smtClean="0"/>
              <a:t>Machine </a:t>
            </a:r>
            <a:r>
              <a:rPr lang="en-US" b="1" dirty="0"/>
              <a:t>Learning  Classifiers</a:t>
            </a:r>
          </a:p>
          <a:p>
            <a:pPr>
              <a:spcBef>
                <a:spcPts val="0"/>
              </a:spcBef>
              <a:spcAft>
                <a:spcPts val="338"/>
              </a:spcAft>
            </a:pPr>
            <a:endParaRPr lang="en-US" b="1" dirty="0" smtClean="0"/>
          </a:p>
        </p:txBody>
      </p:sp>
      <p:grpSp>
        <p:nvGrpSpPr>
          <p:cNvPr id="19" name="Group 18"/>
          <p:cNvGrpSpPr/>
          <p:nvPr/>
        </p:nvGrpSpPr>
        <p:grpSpPr>
          <a:xfrm>
            <a:off x="1402489" y="2847915"/>
            <a:ext cx="944534" cy="594232"/>
            <a:chOff x="417147" y="3983719"/>
            <a:chExt cx="1258887" cy="792000"/>
          </a:xfrm>
        </p:grpSpPr>
        <p:sp>
          <p:nvSpPr>
            <p:cNvPr id="20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17147" y="3983719"/>
              <a:ext cx="1258887" cy="792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Fet" pitchFamily="2" charset="0"/>
                </a:defRPr>
              </a:lvl1pPr>
              <a:lvl2pPr marL="742950" indent="-285750" eaLnBrk="0" hangingPunct="0">
                <a:buClr>
                  <a:schemeClr val="tx2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 eaLnBrk="0" hangingPunct="0"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buClrTx/>
                <a:buFontTx/>
                <a:buNone/>
              </a:pPr>
              <a:r>
                <a:rPr lang="en-US" altLang="de-DE" sz="1351" dirty="0">
                  <a:solidFill>
                    <a:schemeClr val="bg1"/>
                  </a:solidFill>
                </a:rPr>
                <a:t>VICO</a:t>
              </a:r>
            </a:p>
          </p:txBody>
        </p:sp>
        <p:pic>
          <p:nvPicPr>
            <p:cNvPr id="21" name="Picture 2" descr="https://encrypted-tbn2.gstatic.com/images?q=tbn:ANd9GcRlSqx5c6_eOxb6-HRS4rtti7qiwukbJ6OmshzwAyKCgx5L4yHR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37" y="4217112"/>
              <a:ext cx="773112" cy="325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Bent Arrow 21"/>
          <p:cNvSpPr/>
          <p:nvPr/>
        </p:nvSpPr>
        <p:spPr bwMode="auto">
          <a:xfrm rot="10800000">
            <a:off x="2218207" y="4616299"/>
            <a:ext cx="1789443" cy="1563312"/>
          </a:xfrm>
          <a:prstGeom prst="bentArrow">
            <a:avLst>
              <a:gd name="adj1" fmla="val 21667"/>
              <a:gd name="adj2" fmla="val 28020"/>
              <a:gd name="adj3" fmla="val 25000"/>
              <a:gd name="adj4" fmla="val 43750"/>
            </a:avLst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Right Arrow 22"/>
          <p:cNvSpPr/>
          <p:nvPr/>
        </p:nvSpPr>
        <p:spPr bwMode="auto">
          <a:xfrm>
            <a:off x="1104545" y="3390452"/>
            <a:ext cx="1853916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460" y="2661994"/>
            <a:ext cx="1298565" cy="738835"/>
          </a:xfrm>
          <a:prstGeom prst="rect">
            <a:avLst/>
          </a:prstGeom>
        </p:spPr>
      </p:pic>
      <p:sp>
        <p:nvSpPr>
          <p:cNvPr id="25" name="Right Arrow 24"/>
          <p:cNvSpPr/>
          <p:nvPr/>
        </p:nvSpPr>
        <p:spPr bwMode="auto">
          <a:xfrm rot="10800000">
            <a:off x="4939353" y="3363861"/>
            <a:ext cx="2057440" cy="632588"/>
          </a:xfrm>
          <a:prstGeom prst="rightArrow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21" tIns="54021" rIns="54021" bIns="54021"/>
          <a:lstStyle/>
          <a:p>
            <a:pPr eaLnBrk="1" hangingPunct="1">
              <a:lnSpc>
                <a:spcPct val="90000"/>
              </a:lnSpc>
              <a:spcAft>
                <a:spcPct val="20000"/>
              </a:spcAft>
            </a:pPr>
            <a:endParaRPr lang="he-IL" sz="105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43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Unsupervised learning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62031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1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6x0EVZmEm.xq1eSHX6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i2bLFzjkCGE91dqM8Z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14ACx6ikO0Vq2c8m4Vx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fuyOgGU.WAvD7sTxl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sEXH3jv02oGg54lsPt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i2bLFzjkCGE91dqM8Z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14ACx6ikO0Vq2c8m4V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fuyOgGU.WAvD7sTxl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heme/theme1.xml><?xml version="1.0" encoding="utf-8"?>
<a:theme xmlns:a="http://schemas.openxmlformats.org/drawingml/2006/main" name="1_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28478EA2AD1D489471C4B5515777C3" ma:contentTypeVersion="1" ma:contentTypeDescription="Create a new document." ma:contentTypeScope="" ma:versionID="35d3ae60f4dbd19a68ac3a2a42a570a1">
  <xsd:schema xmlns:xsd="http://www.w3.org/2001/XMLSchema" xmlns:xs="http://www.w3.org/2001/XMLSchema" xmlns:p="http://schemas.microsoft.com/office/2006/metadata/properties" xmlns:ns1="http://schemas.microsoft.com/sharepoint/v3" xmlns:ns2="9c7a3f5a-103c-4077-9cda-80f1a39582e5" targetNamespace="http://schemas.microsoft.com/office/2006/metadata/properties" ma:root="true" ma:fieldsID="c97caf6035d8bdc6b1bdf3333dc24de1" ns1:_="" ns2:_="">
    <xsd:import namespace="http://schemas.microsoft.com/sharepoint/v3"/>
    <xsd:import namespace="9c7a3f5a-103c-4077-9cda-80f1a39582e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Bemerkun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7a3f5a-103c-4077-9cda-80f1a39582e5" elementFormDefault="qualified">
    <xsd:import namespace="http://schemas.microsoft.com/office/2006/documentManagement/types"/>
    <xsd:import namespace="http://schemas.microsoft.com/office/infopath/2007/PartnerControls"/>
    <xsd:element name="Bemerkungen" ma:index="10" nillable="true" ma:displayName="Comments" ma:default="" ma:internalName="Bemerkunge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merkungen xmlns="9c7a3f5a-103c-4077-9cda-80f1a39582e5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82EF20B-302E-40BB-A54A-A061368995BE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54BE1329-9AE7-4C23-80B7-8F115BD7A5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B783952-990F-40EC-88E4-15BAE755988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7BD1586-89C3-4104-84AC-9EE2E83067CD}">
  <ds:schemaRefs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32</TotalTime>
  <Words>1638</Words>
  <Application>Microsoft Office PowerPoint</Application>
  <PresentationFormat>On-screen Show (4:3)</PresentationFormat>
  <Paragraphs>220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TeleGrotesk Headline Ultra</vt:lpstr>
      <vt:lpstr>Tele-GroteskFet</vt:lpstr>
      <vt:lpstr>Tele-GroteskNor</vt:lpstr>
      <vt:lpstr>Tele-GroteskUlt</vt:lpstr>
      <vt:lpstr>Wingdings</vt:lpstr>
      <vt:lpstr>1_TELEKOM_Master_DE_RC6 Kopie</vt:lpstr>
      <vt:lpstr>TELEKOM_Master_DE_RC6 Kopie</vt:lpstr>
      <vt:lpstr>think-cell Folie</vt:lpstr>
      <vt:lpstr>think-cell Slide</vt:lpstr>
      <vt:lpstr>Bad actors</vt:lpstr>
      <vt:lpstr>Pilot</vt:lpstr>
      <vt:lpstr>PowerPoint Presentation</vt:lpstr>
      <vt:lpstr>PowerPoint Presentation</vt:lpstr>
      <vt:lpstr>Data collection</vt:lpstr>
      <vt:lpstr>PowerPoint Presentation</vt:lpstr>
      <vt:lpstr>PowerPoint Presentation</vt:lpstr>
      <vt:lpstr>PowerPoint Presentation</vt:lpstr>
      <vt:lpstr>Unsupervised lear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eling good actors</vt:lpstr>
      <vt:lpstr>PowerPoint Presentation</vt:lpstr>
      <vt:lpstr>Next steps</vt:lpstr>
      <vt:lpstr>SUPERVISED AUTHORS CLASSIFICATION DIFFTRACK: Methodology.</vt:lpstr>
    </vt:vector>
  </TitlesOfParts>
  <Company>Interbran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k Mueller</dc:creator>
  <cp:lastModifiedBy>מאור הורנשטין</cp:lastModifiedBy>
  <cp:revision>1191</cp:revision>
  <cp:lastPrinted>2012-09-04T09:22:48Z</cp:lastPrinted>
  <dcterms:created xsi:type="dcterms:W3CDTF">2011-07-07T11:12:14Z</dcterms:created>
  <dcterms:modified xsi:type="dcterms:W3CDTF">2016-07-12T15:0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f2470000000000010250600207b98007b004f000</vt:lpwstr>
  </property>
</Properties>
</file>